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4" r:id="rId1"/>
  </p:sldMasterIdLst>
  <p:notesMasterIdLst>
    <p:notesMasterId r:id="rId9"/>
  </p:notesMasterIdLst>
  <p:handoutMasterIdLst>
    <p:handoutMasterId r:id="rId10"/>
  </p:handoutMasterIdLst>
  <p:sldIdLst>
    <p:sldId id="317" r:id="rId2"/>
    <p:sldId id="422" r:id="rId3"/>
    <p:sldId id="423" r:id="rId4"/>
    <p:sldId id="424" r:id="rId5"/>
    <p:sldId id="425" r:id="rId6"/>
    <p:sldId id="426" r:id="rId7"/>
    <p:sldId id="428" r:id="rId8"/>
  </p:sldIdLst>
  <p:sldSz cx="13444538" cy="7562850"/>
  <p:notesSz cx="9929813" cy="6797675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78" userDrawn="1">
          <p15:clr>
            <a:srgbClr val="A4A3A4"/>
          </p15:clr>
        </p15:guide>
        <p15:guide id="2" pos="2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8625"/>
    <a:srgbClr val="967200"/>
    <a:srgbClr val="FBF6D9"/>
    <a:srgbClr val="0B6893"/>
    <a:srgbClr val="B5941B"/>
    <a:srgbClr val="009999"/>
    <a:srgbClr val="DEB825"/>
    <a:srgbClr val="6DB9C3"/>
    <a:srgbClr val="6DC3B9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01" autoAdjust="0"/>
    <p:restoredTop sz="88271" autoAdjust="0"/>
  </p:normalViewPr>
  <p:slideViewPr>
    <p:cSldViewPr>
      <p:cViewPr varScale="1">
        <p:scale>
          <a:sx n="99" d="100"/>
          <a:sy n="99" d="100"/>
        </p:scale>
        <p:origin x="486" y="72"/>
      </p:cViewPr>
      <p:guideLst>
        <p:guide orient="horz" pos="2478"/>
        <p:guide pos="251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1" d="100"/>
          <a:sy n="91" d="100"/>
        </p:scale>
        <p:origin x="-2076" y="-98"/>
      </p:cViewPr>
      <p:guideLst>
        <p:guide orient="horz" pos="2141"/>
        <p:guide pos="3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659" cy="340756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4569" y="0"/>
            <a:ext cx="4303659" cy="340756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EB1741DC-9E98-475D-843F-A585BDB5E555}" type="datetimeFigureOut">
              <a:rPr lang="ru-RU" smtClean="0"/>
              <a:t>28.07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920"/>
            <a:ext cx="4303659" cy="340756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4569" y="6456920"/>
            <a:ext cx="4303659" cy="340756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56C92359-290E-4CBF-9EF9-4145B6F660F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7213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3018" cy="339599"/>
          </a:xfrm>
          <a:prstGeom prst="rect">
            <a:avLst/>
          </a:prstGeom>
        </p:spPr>
        <p:txBody>
          <a:bodyPr vert="horz" lIns="83762" tIns="41880" rIns="83762" bIns="41880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5324" y="1"/>
            <a:ext cx="4301543" cy="339599"/>
          </a:xfrm>
          <a:prstGeom prst="rect">
            <a:avLst/>
          </a:prstGeom>
        </p:spPr>
        <p:txBody>
          <a:bodyPr vert="horz" lIns="83762" tIns="41880" rIns="83762" bIns="41880" rtlCol="0"/>
          <a:lstStyle>
            <a:lvl1pPr algn="r">
              <a:defRPr sz="1100"/>
            </a:lvl1pPr>
          </a:lstStyle>
          <a:p>
            <a:fld id="{279730C1-23C2-48BC-8D59-3F998C3677BC}" type="datetimeFigureOut">
              <a:rPr lang="ru-RU" smtClean="0"/>
              <a:pPr/>
              <a:t>28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8000"/>
            <a:ext cx="4535487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62" tIns="41880" rIns="83762" bIns="4188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572" y="3229040"/>
            <a:ext cx="7942671" cy="3059239"/>
          </a:xfrm>
          <a:prstGeom prst="rect">
            <a:avLst/>
          </a:prstGeom>
        </p:spPr>
        <p:txBody>
          <a:bodyPr vert="horz" lIns="83762" tIns="41880" rIns="83762" bIns="4188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50"/>
            <a:ext cx="4303018" cy="339599"/>
          </a:xfrm>
          <a:prstGeom prst="rect">
            <a:avLst/>
          </a:prstGeom>
        </p:spPr>
        <p:txBody>
          <a:bodyPr vert="horz" lIns="83762" tIns="41880" rIns="83762" bIns="41880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5324" y="6456650"/>
            <a:ext cx="4301543" cy="339599"/>
          </a:xfrm>
          <a:prstGeom prst="rect">
            <a:avLst/>
          </a:prstGeom>
        </p:spPr>
        <p:txBody>
          <a:bodyPr vert="horz" lIns="83762" tIns="41880" rIns="83762" bIns="41880" rtlCol="0" anchor="b"/>
          <a:lstStyle>
            <a:lvl1pPr algn="r">
              <a:defRPr sz="1100"/>
            </a:lvl1pPr>
          </a:lstStyle>
          <a:p>
            <a:fld id="{D2B147C9-A3CF-4E0E-857E-7CDC918B10B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1071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B147C9-A3CF-4E0E-857E-7CDC918B10B9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134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B147C9-A3CF-4E0E-857E-7CDC918B10B9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120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5215" y="2773045"/>
            <a:ext cx="9831317" cy="2495345"/>
          </a:xfrm>
        </p:spPr>
        <p:txBody>
          <a:bodyPr anchor="b">
            <a:normAutofit/>
          </a:bodyPr>
          <a:lstStyle>
            <a:lvl1pPr>
              <a:defRPr sz="595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5215" y="5268388"/>
            <a:ext cx="9831317" cy="1242040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04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9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3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6"/>
          <p:cNvSpPr/>
          <p:nvPr/>
        </p:nvSpPr>
        <p:spPr bwMode="auto">
          <a:xfrm>
            <a:off x="0" y="4768202"/>
            <a:ext cx="1923888" cy="858611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4995076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096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672254"/>
            <a:ext cx="9831317" cy="3437402"/>
          </a:xfrm>
        </p:spPr>
        <p:txBody>
          <a:bodyPr anchor="ctr">
            <a:normAutofit/>
          </a:bodyPr>
          <a:lstStyle>
            <a:lvl1pPr algn="l">
              <a:defRPr sz="5293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5214" y="4801545"/>
            <a:ext cx="9831317" cy="1715772"/>
          </a:xfrm>
        </p:spPr>
        <p:txBody>
          <a:bodyPr anchor="ctr">
            <a:normAutofit/>
          </a:bodyPr>
          <a:lstStyle>
            <a:lvl1pPr marL="0" indent="0" algn="l">
              <a:buNone/>
              <a:defRPr sz="198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04154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3504821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3577565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811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737" y="672254"/>
            <a:ext cx="9256271" cy="3193203"/>
          </a:xfrm>
        </p:spPr>
        <p:txBody>
          <a:bodyPr anchor="ctr">
            <a:normAutofit/>
          </a:bodyPr>
          <a:lstStyle>
            <a:lvl1pPr algn="l">
              <a:defRPr sz="5293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11469" y="3865457"/>
            <a:ext cx="8310817" cy="42015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76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04154" indent="0">
              <a:buFontTx/>
              <a:buNone/>
              <a:defRPr/>
            </a:lvl2pPr>
            <a:lvl3pPr marL="1008309" indent="0">
              <a:buFontTx/>
              <a:buNone/>
              <a:defRPr/>
            </a:lvl3pPr>
            <a:lvl4pPr marL="1512463" indent="0">
              <a:buFontTx/>
              <a:buNone/>
              <a:defRPr/>
            </a:lvl4pPr>
            <a:lvl5pPr marL="2016618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5214" y="4801545"/>
            <a:ext cx="9831317" cy="1715772"/>
          </a:xfrm>
        </p:spPr>
        <p:txBody>
          <a:bodyPr anchor="ctr">
            <a:normAutofit/>
          </a:bodyPr>
          <a:lstStyle>
            <a:lvl1pPr marL="0" indent="0" algn="l">
              <a:buNone/>
              <a:defRPr sz="198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04154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619" y="3504821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3577565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721165" y="714606"/>
            <a:ext cx="672227" cy="644878"/>
          </a:xfrm>
          <a:prstGeom prst="rect">
            <a:avLst/>
          </a:prstGeom>
        </p:spPr>
        <p:txBody>
          <a:bodyPr vert="horz" lIns="100834" tIns="50417" rIns="100834" bIns="50417" rtlCol="0" anchor="ctr">
            <a:noAutofit/>
          </a:bodyPr>
          <a:lstStyle/>
          <a:p>
            <a:pPr lvl="0"/>
            <a:r>
              <a:rPr lang="en-US" sz="8822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256730" y="3203907"/>
            <a:ext cx="672227" cy="644878"/>
          </a:xfrm>
          <a:prstGeom prst="rect">
            <a:avLst/>
          </a:prstGeom>
        </p:spPr>
        <p:txBody>
          <a:bodyPr vert="horz" lIns="100834" tIns="50417" rIns="100834" bIns="50417" rtlCol="0" anchor="ctr">
            <a:noAutofit/>
          </a:bodyPr>
          <a:lstStyle/>
          <a:p>
            <a:pPr lvl="0"/>
            <a:r>
              <a:rPr lang="en-US" sz="8822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538826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2689014"/>
            <a:ext cx="9831318" cy="3004899"/>
          </a:xfrm>
        </p:spPr>
        <p:txBody>
          <a:bodyPr anchor="b">
            <a:normAutofit/>
          </a:bodyPr>
          <a:lstStyle>
            <a:lvl1pPr algn="l">
              <a:defRPr sz="5293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55214" y="5714153"/>
            <a:ext cx="9831318" cy="804611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5416542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6448" y="5495238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935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42737" y="672254"/>
            <a:ext cx="9256271" cy="3193203"/>
          </a:xfrm>
        </p:spPr>
        <p:txBody>
          <a:bodyPr anchor="ctr">
            <a:normAutofit/>
          </a:bodyPr>
          <a:lstStyle>
            <a:lvl1pPr algn="l">
              <a:defRPr sz="5293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855213" y="4789805"/>
            <a:ext cx="9831318" cy="9243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646">
                <a:solidFill>
                  <a:schemeClr val="accent1"/>
                </a:solidFill>
              </a:defRPr>
            </a:lvl1pPr>
            <a:lvl2pPr marL="504154" indent="0">
              <a:buFontTx/>
              <a:buNone/>
              <a:defRPr/>
            </a:lvl2pPr>
            <a:lvl3pPr marL="1008309" indent="0">
              <a:buFontTx/>
              <a:buNone/>
              <a:defRPr/>
            </a:lvl3pPr>
            <a:lvl4pPr marL="1512463" indent="0">
              <a:buFontTx/>
              <a:buNone/>
              <a:defRPr/>
            </a:lvl4pPr>
            <a:lvl5pPr marL="2016618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55214" y="5714153"/>
            <a:ext cx="9831318" cy="804611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619" y="5416542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6448" y="5495238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2721165" y="714606"/>
            <a:ext cx="672227" cy="644878"/>
          </a:xfrm>
          <a:prstGeom prst="rect">
            <a:avLst/>
          </a:prstGeom>
        </p:spPr>
        <p:txBody>
          <a:bodyPr vert="horz" lIns="100834" tIns="50417" rIns="100834" bIns="50417" rtlCol="0" anchor="ctr">
            <a:noAutofit/>
          </a:bodyPr>
          <a:lstStyle/>
          <a:p>
            <a:pPr lvl="0"/>
            <a:r>
              <a:rPr lang="en-US" sz="8822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256730" y="3203907"/>
            <a:ext cx="672227" cy="644878"/>
          </a:xfrm>
          <a:prstGeom prst="rect">
            <a:avLst/>
          </a:prstGeom>
        </p:spPr>
        <p:txBody>
          <a:bodyPr vert="horz" lIns="100834" tIns="50417" rIns="100834" bIns="50417" rtlCol="0" anchor="ctr">
            <a:noAutofit/>
          </a:bodyPr>
          <a:lstStyle/>
          <a:p>
            <a:pPr lvl="0"/>
            <a:r>
              <a:rPr lang="en-US" sz="8822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34794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691891"/>
            <a:ext cx="9831317" cy="3176022"/>
          </a:xfrm>
        </p:spPr>
        <p:txBody>
          <a:bodyPr anchor="ctr">
            <a:normAutofit/>
          </a:bodyPr>
          <a:lstStyle>
            <a:lvl1pPr algn="l">
              <a:defRPr sz="5293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855213" y="4789805"/>
            <a:ext cx="9831318" cy="9243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646">
                <a:solidFill>
                  <a:schemeClr val="accent1"/>
                </a:solidFill>
              </a:defRPr>
            </a:lvl1pPr>
            <a:lvl2pPr marL="504154" indent="0">
              <a:buFontTx/>
              <a:buNone/>
              <a:defRPr/>
            </a:lvl2pPr>
            <a:lvl3pPr marL="1008309" indent="0">
              <a:buFontTx/>
              <a:buNone/>
              <a:defRPr/>
            </a:lvl3pPr>
            <a:lvl4pPr marL="1512463" indent="0">
              <a:buFontTx/>
              <a:buNone/>
              <a:defRPr/>
            </a:lvl4pPr>
            <a:lvl5pPr marL="2016618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55214" y="5714153"/>
            <a:ext cx="9831318" cy="804611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5416542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6448" y="5495238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483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31456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249709" y="691889"/>
            <a:ext cx="2434398" cy="5826876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55213" y="691889"/>
            <a:ext cx="7142411" cy="58268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17244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902971"/>
            <a:ext cx="3293269" cy="6659880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7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293269" y="902971"/>
            <a:ext cx="4648200" cy="6669404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68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902971"/>
            <a:ext cx="3293269" cy="6659880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7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293269" y="902971"/>
            <a:ext cx="4648200" cy="6669404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3444538" cy="926672"/>
          </a:xfrm>
          <a:prstGeom prst="rect">
            <a:avLst/>
          </a:prstGeom>
          <a:solidFill>
            <a:srgbClr val="6DB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42096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5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9308" y="688255"/>
            <a:ext cx="9827224" cy="141253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5213" y="2352886"/>
            <a:ext cx="9831318" cy="41658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1701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5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45269" y="1180724"/>
            <a:ext cx="6477000" cy="5991225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722269" y="1180723"/>
            <a:ext cx="6477000" cy="5991225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14355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9201106" y="0"/>
            <a:ext cx="4243432" cy="7562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/>
            <a:endParaRPr lang="de-DE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AD34C-EF8A-4570-A3D3-B844B8553936}" type="datetime1">
              <a:rPr lang="de-DE" smtClean="0"/>
              <a:pPr/>
              <a:t>28.07.2023</a:t>
            </a:fld>
            <a:endParaRPr lang="de-DE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E50CA-19E7-4CA5-B79C-4C9B107B9F8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" t="52013" r="2137" b="24590"/>
          <a:stretch/>
        </p:blipFill>
        <p:spPr>
          <a:xfrm rot="5400000" flipH="1" flipV="1">
            <a:off x="-3437673" y="3437673"/>
            <a:ext cx="7562850" cy="68750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122984" y="325349"/>
            <a:ext cx="956660" cy="1141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39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513" y="303213"/>
            <a:ext cx="12101512" cy="12604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3362497" cy="7562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5385" y="2675129"/>
            <a:ext cx="2971728" cy="1106296"/>
          </a:xfrm>
        </p:spPr>
        <p:txBody>
          <a:bodyPr>
            <a:noAutofit/>
          </a:bodyPr>
          <a:lstStyle>
            <a:lvl1pPr>
              <a:defRPr sz="441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 Образец заголовка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-20791" y="-2279"/>
            <a:ext cx="3362497" cy="30375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-16184" y="-2279"/>
            <a:ext cx="381553" cy="3037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365369" y="-2279"/>
            <a:ext cx="381553" cy="30375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6" name="Номер слайда 3"/>
          <p:cNvSpPr txBox="1">
            <a:spLocks/>
          </p:cNvSpPr>
          <p:nvPr userDrawn="1"/>
        </p:nvSpPr>
        <p:spPr>
          <a:xfrm>
            <a:off x="12686026" y="7161600"/>
            <a:ext cx="953334" cy="40125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600" b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F4D34C4D-48A8-4D8F-9273-AF8BB664821E}" type="slidenum">
              <a:rPr lang="ru-RU" sz="1323" b="0" smtClean="0">
                <a:latin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323" b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659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2270344"/>
            <a:ext cx="9831317" cy="1619760"/>
          </a:xfrm>
        </p:spPr>
        <p:txBody>
          <a:bodyPr anchor="b"/>
          <a:lstStyle>
            <a:lvl1pPr algn="l">
              <a:defRPr sz="4411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5214" y="3892948"/>
            <a:ext cx="9831317" cy="948830"/>
          </a:xfrm>
        </p:spPr>
        <p:txBody>
          <a:bodyPr anchor="t"/>
          <a:lstStyle>
            <a:lvl1pPr marL="0" indent="0" algn="l">
              <a:buNone/>
              <a:defRPr sz="220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04154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3504821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3577565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5098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5213" y="2352886"/>
            <a:ext cx="4757046" cy="416587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9484" y="2344750"/>
            <a:ext cx="4757046" cy="416587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868749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62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1348" y="2175453"/>
            <a:ext cx="4402923" cy="635489"/>
          </a:xfrm>
        </p:spPr>
        <p:txBody>
          <a:bodyPr anchor="b">
            <a:noAutofit/>
          </a:bodyPr>
          <a:lstStyle>
            <a:lvl1pPr marL="0" indent="0">
              <a:buNone/>
              <a:defRPr sz="2646" b="0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55214" y="2810943"/>
            <a:ext cx="4789058" cy="3698783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77819" y="2171893"/>
            <a:ext cx="4409836" cy="635489"/>
          </a:xfrm>
        </p:spPr>
        <p:txBody>
          <a:bodyPr anchor="b">
            <a:noAutofit/>
          </a:bodyPr>
          <a:lstStyle>
            <a:lvl1pPr marL="0" indent="0">
              <a:buNone/>
              <a:defRPr sz="2646" b="0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03250" y="2807383"/>
            <a:ext cx="4784405" cy="3698783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6448" y="868749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395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0292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2463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491936"/>
            <a:ext cx="3865304" cy="1076655"/>
          </a:xfrm>
        </p:spPr>
        <p:txBody>
          <a:bodyPr anchor="b"/>
          <a:lstStyle>
            <a:lvl1pPr algn="l">
              <a:defRPr sz="2205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2603" y="491936"/>
            <a:ext cx="5713929" cy="5971501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55214" y="1762915"/>
            <a:ext cx="3865304" cy="4700520"/>
          </a:xfrm>
        </p:spPr>
        <p:txBody>
          <a:bodyPr/>
          <a:lstStyle>
            <a:lvl1pPr marL="0" indent="0">
              <a:buNone/>
              <a:defRPr sz="1544"/>
            </a:lvl1pPr>
            <a:lvl2pPr marL="504154" indent="0">
              <a:buNone/>
              <a:defRPr sz="1323"/>
            </a:lvl2pPr>
            <a:lvl3pPr marL="1008309" indent="0">
              <a:buNone/>
              <a:defRPr sz="1103"/>
            </a:lvl3pPr>
            <a:lvl4pPr marL="1512463" indent="0">
              <a:buNone/>
              <a:defRPr sz="992"/>
            </a:lvl4pPr>
            <a:lvl5pPr marL="2016618" indent="0">
              <a:buNone/>
              <a:defRPr sz="992"/>
            </a:lvl5pPr>
            <a:lvl6pPr marL="2520772" indent="0">
              <a:buNone/>
              <a:defRPr sz="992"/>
            </a:lvl6pPr>
            <a:lvl7pPr marL="3024927" indent="0">
              <a:buNone/>
              <a:defRPr sz="992"/>
            </a:lvl7pPr>
            <a:lvl8pPr marL="3529081" indent="0">
              <a:buNone/>
              <a:defRPr sz="992"/>
            </a:lvl8pPr>
            <a:lvl9pPr marL="4033236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787797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951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5214" y="5293995"/>
            <a:ext cx="9831318" cy="624986"/>
          </a:xfrm>
        </p:spPr>
        <p:txBody>
          <a:bodyPr anchor="b">
            <a:normAutofit/>
          </a:bodyPr>
          <a:lstStyle>
            <a:lvl1pPr algn="l">
              <a:defRPr sz="2646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55213" y="700225"/>
            <a:ext cx="9831318" cy="4251175"/>
          </a:xfrm>
        </p:spPr>
        <p:txBody>
          <a:bodyPr anchor="t">
            <a:normAutofit/>
          </a:bodyPr>
          <a:lstStyle>
            <a:lvl1pPr marL="0" indent="0" algn="ctr">
              <a:buNone/>
              <a:defRPr sz="1764"/>
            </a:lvl1pPr>
            <a:lvl2pPr marL="504154" indent="0">
              <a:buNone/>
              <a:defRPr sz="1764"/>
            </a:lvl2pPr>
            <a:lvl3pPr marL="1008309" indent="0">
              <a:buNone/>
              <a:defRPr sz="1764"/>
            </a:lvl3pPr>
            <a:lvl4pPr marL="1512463" indent="0">
              <a:buNone/>
              <a:defRPr sz="1764"/>
            </a:lvl4pPr>
            <a:lvl5pPr marL="2016618" indent="0">
              <a:buNone/>
              <a:defRPr sz="1764"/>
            </a:lvl5pPr>
            <a:lvl6pPr marL="2520772" indent="0">
              <a:buNone/>
              <a:defRPr sz="1764"/>
            </a:lvl6pPr>
            <a:lvl7pPr marL="3024927" indent="0">
              <a:buNone/>
              <a:defRPr sz="1764"/>
            </a:lvl7pPr>
            <a:lvl8pPr marL="3529081" indent="0">
              <a:buNone/>
              <a:defRPr sz="1764"/>
            </a:lvl8pPr>
            <a:lvl9pPr marL="4033236" indent="0">
              <a:buNone/>
              <a:defRPr sz="1764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55214" y="5918981"/>
            <a:ext cx="9831318" cy="544455"/>
          </a:xfrm>
        </p:spPr>
        <p:txBody>
          <a:bodyPr>
            <a:normAutofit/>
          </a:bodyPr>
          <a:lstStyle>
            <a:lvl1pPr marL="0" indent="0">
              <a:buNone/>
              <a:defRPr sz="1323"/>
            </a:lvl1pPr>
            <a:lvl2pPr marL="504154" indent="0">
              <a:buNone/>
              <a:defRPr sz="1323"/>
            </a:lvl2pPr>
            <a:lvl3pPr marL="1008309" indent="0">
              <a:buNone/>
              <a:defRPr sz="1103"/>
            </a:lvl3pPr>
            <a:lvl4pPr marL="1512463" indent="0">
              <a:buNone/>
              <a:defRPr sz="992"/>
            </a:lvl4pPr>
            <a:lvl5pPr marL="2016618" indent="0">
              <a:buNone/>
              <a:defRPr sz="992"/>
            </a:lvl5pPr>
            <a:lvl6pPr marL="2520772" indent="0">
              <a:buNone/>
              <a:defRPr sz="992"/>
            </a:lvl6pPr>
            <a:lvl7pPr marL="3024927" indent="0">
              <a:buNone/>
              <a:defRPr sz="992"/>
            </a:lvl7pPr>
            <a:lvl8pPr marL="3529081" indent="0">
              <a:buNone/>
              <a:defRPr sz="992"/>
            </a:lvl8pPr>
            <a:lvl9pPr marL="4033236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619" y="5416542"/>
            <a:ext cx="1751723" cy="559436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6448" y="5495238"/>
            <a:ext cx="859876" cy="402652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840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52095"/>
            <a:ext cx="3144465" cy="7320931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30017" y="173"/>
            <a:ext cx="2598786" cy="7557442"/>
            <a:chOff x="6627813" y="195610"/>
            <a:chExt cx="1952625" cy="5678141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5610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201668" cy="75628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9307" y="688255"/>
            <a:ext cx="9827224" cy="141253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5213" y="2352887"/>
            <a:ext cx="9831318" cy="42856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26107" y="6760510"/>
            <a:ext cx="1264046" cy="4084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55214" y="6766433"/>
            <a:ext cx="8402835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86448" y="868749"/>
            <a:ext cx="859876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205">
                <a:solidFill>
                  <a:srgbClr val="FEFFFF"/>
                </a:solidFill>
              </a:defRPr>
            </a:lvl1pPr>
          </a:lstStyle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77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669" r:id="rId17"/>
    <p:sldLayoutId id="2147483670" r:id="rId18"/>
    <p:sldLayoutId id="2147483665" r:id="rId19"/>
    <p:sldLayoutId id="2147483671" r:id="rId20"/>
    <p:sldLayoutId id="2147483672" r:id="rId21"/>
    <p:sldLayoutId id="2147483673" r:id="rId22"/>
    <p:sldLayoutId id="2147483675" r:id="rId23"/>
  </p:sldLayoutIdLst>
  <p:txStyles>
    <p:titleStyle>
      <a:lvl1pPr algn="l" defTabSz="504154" rtl="0" eaLnBrk="1" latinLnBrk="0" hangingPunct="1">
        <a:spcBef>
          <a:spcPct val="0"/>
        </a:spcBef>
        <a:buNone/>
        <a:defRPr sz="3970" kern="120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78116" indent="-378116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98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819251" indent="-31509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76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60386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54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764541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268695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772849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277004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781158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4285313" indent="-252077" algn="l" defTabSz="504154" rtl="0" eaLnBrk="1" latinLnBrk="0" hangingPunct="1">
        <a:spcBef>
          <a:spcPts val="1103"/>
        </a:spcBef>
        <a:spcAft>
          <a:spcPts val="0"/>
        </a:spcAft>
        <a:buClr>
          <a:schemeClr val="accent1"/>
        </a:buClr>
        <a:buFont typeface="Wingdings 3" charset="2"/>
        <a:buChar char=""/>
        <a:defRPr sz="1323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50415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5">
            <a:extLst>
              <a:ext uri="{FF2B5EF4-FFF2-40B4-BE49-F238E27FC236}">
                <a16:creationId xmlns:a16="http://schemas.microsoft.com/office/drawing/2014/main" id="{7A842C2B-920C-C78E-A893-889DB879282F}"/>
              </a:ext>
            </a:extLst>
          </p:cNvPr>
          <p:cNvSpPr txBox="1"/>
          <p:nvPr/>
        </p:nvSpPr>
        <p:spPr>
          <a:xfrm>
            <a:off x="169069" y="894509"/>
            <a:ext cx="11806036" cy="64633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ическая сессия</a:t>
            </a:r>
          </a:p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Подведение итогов реализации Стратегии социально-экономического развития городского округа Тольятти за период 2019-2022 гг.»</a:t>
            </a:r>
          </a:p>
          <a:p>
            <a:pPr marL="15968" marR="6387" algn="ctr">
              <a:lnSpc>
                <a:spcPct val="100499"/>
              </a:lnSpc>
            </a:pPr>
            <a:endParaRPr lang="ru-RU" sz="2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ctr">
              <a:lnSpc>
                <a:spcPct val="100499"/>
              </a:lnSpc>
            </a:pPr>
            <a:endParaRPr lang="ru-RU" sz="2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матический блок:</a:t>
            </a:r>
          </a:p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Человеческий потенциал»</a:t>
            </a:r>
          </a:p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нение стратегии по отрасли «Социальное обеспечение»</a:t>
            </a:r>
          </a:p>
          <a:p>
            <a:pPr marL="15968" marR="6387" algn="just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r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r">
              <a:lnSpc>
                <a:spcPct val="100499"/>
              </a:lnSpc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ладчик: руководитель департамента социального обеспечения</a:t>
            </a:r>
          </a:p>
          <a:p>
            <a:pPr marL="15968" marR="6387" algn="r">
              <a:lnSpc>
                <a:spcPct val="100499"/>
              </a:lnSpc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ысова Светлана Вениаминовна</a:t>
            </a:r>
          </a:p>
          <a:p>
            <a:pPr marL="15968" marR="6387" algn="r">
              <a:lnSpc>
                <a:spcPct val="100499"/>
              </a:lnSpc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льятти, июль 2023</a:t>
            </a:r>
          </a:p>
          <a:p>
            <a:pPr marL="15968" marR="6387" algn="r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r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827669" y="29146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98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97183" y="123825"/>
            <a:ext cx="1061836" cy="126682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69069" y="2028825"/>
            <a:ext cx="131064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280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УКАЗ ПРЕЗИДЕНТА РФ от 9.11.2022 № 809 </a:t>
            </a:r>
          </a:p>
          <a:p>
            <a:pPr algn="ctr" fontAlgn="ctr"/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Об утверждении Основ государственной политики по сохранению и укреплению традиционных российских духовно-нравственных ценностей»</a:t>
            </a:r>
          </a:p>
        </p:txBody>
      </p:sp>
      <p:pic>
        <p:nvPicPr>
          <p:cNvPr id="1026" name="Picture 2" descr="https://umctvr.ru/upload/iblock/e31/nlnn41yftmsgcblnplnfyc35nlvev7mp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2069" y="352425"/>
            <a:ext cx="2057400" cy="1534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21469" y="3857625"/>
            <a:ext cx="12837550" cy="2105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1275"/>
              </a:spcAft>
            </a:pPr>
            <a:r>
              <a:rPr lang="en-US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) </a:t>
            </a:r>
            <a:r>
              <a:rPr lang="ru-RU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ru-RU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хранение, укрепление и продвижение традиционных семейных ценностей (в том числе защита института брака как союза мужчины и женщины), обеспечение преемственности поколений, забота о достойной жизни старшего поколения;</a:t>
            </a:r>
          </a:p>
          <a:p>
            <a:pPr indent="450215" algn="just">
              <a:spcAft>
                <a:spcPts val="1275"/>
              </a:spcAft>
            </a:pPr>
            <a:r>
              <a:rPr lang="en-US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) </a:t>
            </a:r>
            <a:r>
              <a:rPr lang="ru-RU" sz="24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ирование представления о сбережении народа России как об основном стратегическом национальном приоритете.</a:t>
            </a:r>
          </a:p>
        </p:txBody>
      </p:sp>
    </p:spTree>
    <p:extLst>
      <p:ext uri="{BB962C8B-B14F-4D97-AF65-F5344CB8AC3E}">
        <p14:creationId xmlns:p14="http://schemas.microsoft.com/office/powerpoint/2010/main" val="36138964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903869" y="276225"/>
            <a:ext cx="1061836" cy="126682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140869" y="352425"/>
            <a:ext cx="6248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пуляризация семейных ценностей</a:t>
            </a:r>
          </a:p>
        </p:txBody>
      </p:sp>
      <p:pic>
        <p:nvPicPr>
          <p:cNvPr id="5" name="Рисунок 4" descr="psKj3rfSpIqgM0QqAF0YtbYRyLkO6oRfqv6PjxrhBMySuI19COataa0HZUBIRYG_gFPpMLbbdGf78zSlswYIm_T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98403" y="3998918"/>
            <a:ext cx="4805466" cy="3202393"/>
          </a:xfrm>
          <a:prstGeom prst="rect">
            <a:avLst/>
          </a:prstGeom>
        </p:spPr>
      </p:pic>
      <p:pic>
        <p:nvPicPr>
          <p:cNvPr id="6" name="Рисунок 5" descr="maxresdefault.jpg"/>
          <p:cNvPicPr>
            <a:picLocks noChangeAspect="1"/>
          </p:cNvPicPr>
          <p:nvPr/>
        </p:nvPicPr>
        <p:blipFill>
          <a:blip r:embed="rId4"/>
          <a:srcRect r="-1563" b="22222"/>
          <a:stretch>
            <a:fillRect/>
          </a:stretch>
        </p:blipFill>
        <p:spPr>
          <a:xfrm>
            <a:off x="561895" y="1235389"/>
            <a:ext cx="5120716" cy="2205847"/>
          </a:xfrm>
          <a:prstGeom prst="rect">
            <a:avLst/>
          </a:prstGeom>
        </p:spPr>
      </p:pic>
      <p:pic>
        <p:nvPicPr>
          <p:cNvPr id="7" name="Рисунок 6" descr="6381f60d62521_94ztTniljBFgnpwfpry_B2P9gsoXUCUiWXmJ_lvv_gq7xVGm7DH1AZE1AmMaw4aPrZrxyoEtdLsZCY4DyJJkqB9H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471" y="3629025"/>
            <a:ext cx="3361267" cy="1890713"/>
          </a:xfrm>
          <a:prstGeom prst="rect">
            <a:avLst/>
          </a:prstGeom>
        </p:spPr>
      </p:pic>
      <p:pic>
        <p:nvPicPr>
          <p:cNvPr id="8" name="Рисунок 7" descr="6381f5e4d1683_AOCDFqzc3xY6_ZhG83szeyokNbACwDZCdxEeWm9K5mYxizAMnuuNIy1yTG5CLzMcrQo3iPp_MkWBG5TPK9gKl6LJ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2253" y="5153025"/>
            <a:ext cx="3641398" cy="2048286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5747652" y="2477539"/>
            <a:ext cx="2702831" cy="135204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ень семьи</a:t>
            </a:r>
          </a:p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200 чел.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2669" y="1322649"/>
            <a:ext cx="5486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ведение городских праздничных</a:t>
            </a:r>
          </a:p>
          <a:p>
            <a:pPr algn="ctr"/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ероприятий: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160669" y="2452860"/>
            <a:ext cx="2895600" cy="140140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ень матери</a:t>
            </a:r>
          </a:p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200 чел.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436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97183" y="123825"/>
            <a:ext cx="1061836" cy="1266825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51993" y="378410"/>
            <a:ext cx="11211410" cy="126048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defTabSz="1008400">
              <a:spcBef>
                <a:spcPct val="0"/>
              </a:spcBef>
              <a:defRPr/>
            </a:pPr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е благоприятных условий в семьях для воспитания детей, оставшихся без попечения родителей</a:t>
            </a:r>
            <a:br>
              <a:rPr lang="ru-RU" sz="2426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sz="2426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defTabSz="1008400">
              <a:spcBef>
                <a:spcPct val="0"/>
              </a:spcBef>
              <a:defRPr/>
            </a:pPr>
            <a:r>
              <a:rPr lang="ru-RU" sz="2647" b="1" dirty="0">
                <a:solidFill>
                  <a:schemeClr val="tx2">
                    <a:lumMod val="2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редства бюджета городского округа Тольятти</a:t>
            </a:r>
            <a:endParaRPr lang="ru-RU" sz="2647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694652" y="2336473"/>
            <a:ext cx="4254133" cy="126048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2499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985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ыплата единовременного пособия  в связи с вручением медали                       «За особые успехи в учении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1993" y="3726203"/>
            <a:ext cx="4800600" cy="483722"/>
          </a:xfrm>
          <a:prstGeom prst="rect">
            <a:avLst/>
          </a:prstGeom>
          <a:noFill/>
        </p:spPr>
        <p:txBody>
          <a:bodyPr wrap="square" lIns="75629" tIns="37814" rIns="75629" bIns="37814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defTabSz="756300"/>
            <a:r>
              <a:rPr lang="ru-RU" sz="2647" b="1" dirty="0">
                <a:ln w="5080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500 руб.</a:t>
            </a:r>
          </a:p>
        </p:txBody>
      </p:sp>
      <p:pic>
        <p:nvPicPr>
          <p:cNvPr id="9" name="Рисунок 8" descr="особые успехиc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60069" y="5171228"/>
            <a:ext cx="3481956" cy="2151581"/>
          </a:xfrm>
          <a:prstGeom prst="rect">
            <a:avLst/>
          </a:prstGeom>
        </p:spPr>
      </p:pic>
      <p:pic>
        <p:nvPicPr>
          <p:cNvPr id="10" name="Рисунок 9" descr="7foavh7xw0u_mainnews_1625048932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1329" y="4543425"/>
            <a:ext cx="3285978" cy="2207767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550069" y="2409825"/>
            <a:ext cx="4254133" cy="118170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2499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985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ыплата ежемесячного пособия на содержание ребенка, переданного в приемную семью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551069" y="3726203"/>
            <a:ext cx="2814074" cy="483722"/>
          </a:xfrm>
          <a:prstGeom prst="rect">
            <a:avLst/>
          </a:prstGeom>
          <a:noFill/>
        </p:spPr>
        <p:txBody>
          <a:bodyPr wrap="square" lIns="75629" tIns="37814" rIns="75629" bIns="37814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defTabSz="756300"/>
            <a:r>
              <a:rPr lang="en-US" sz="2647" b="1" dirty="0">
                <a:ln w="5080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30</a:t>
            </a:r>
            <a:r>
              <a:rPr lang="ru-RU" sz="2647" b="1" dirty="0">
                <a:ln w="5080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 000 руб.</a:t>
            </a:r>
          </a:p>
        </p:txBody>
      </p:sp>
      <p:pic>
        <p:nvPicPr>
          <p:cNvPr id="13" name="Рисунок 12" descr="Ребенок-с-игрушкой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9669" y="4543425"/>
            <a:ext cx="2819400" cy="189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49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97183" y="123825"/>
            <a:ext cx="1061836" cy="1266825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626269" y="276225"/>
            <a:ext cx="11201400" cy="3314307"/>
          </a:xfrm>
          <a:prstGeom prst="roundRect">
            <a:avLst/>
          </a:prstGeom>
          <a:ln w="38100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indent="457200" algn="ctr">
              <a:spcAft>
                <a:spcPts val="600"/>
              </a:spcAft>
            </a:pPr>
            <a:r>
              <a:rPr lang="ru-RU" sz="40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Муниципальная программа</a:t>
            </a:r>
            <a:endParaRPr lang="en-US" sz="4000" b="1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ru-RU" sz="40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  «Укрепление общественного </a:t>
            </a:r>
          </a:p>
          <a:p>
            <a:pPr algn="ctr">
              <a:spcAft>
                <a:spcPts val="600"/>
              </a:spcAft>
            </a:pPr>
            <a:r>
              <a:rPr lang="ru-RU" sz="40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доровья в городском округе Тольятти» </a:t>
            </a:r>
            <a:endParaRPr lang="en-US" sz="4000" b="1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600"/>
              </a:spcAft>
            </a:pPr>
            <a:r>
              <a:rPr lang="ru-RU" sz="40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на 2021-2024 годы</a:t>
            </a:r>
            <a:endParaRPr lang="en-US" sz="4000" b="1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36292" y="3980197"/>
            <a:ext cx="120978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tx2">
                    <a:lumMod val="25000"/>
                  </a:schemeClr>
                </a:solidFill>
                <a:latin typeface="Georgia" pitchFamily="18" charset="0"/>
              </a:rPr>
              <a:t>«Создание условий для профилактики неинфекционных и инфекционных  заболеваний»</a:t>
            </a:r>
            <a:b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Georgia" pitchFamily="18" charset="0"/>
              </a:rPr>
            </a:br>
            <a:endParaRPr lang="ru-RU" sz="24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25" y="3781425"/>
            <a:ext cx="914400" cy="91440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388270" y="5108526"/>
            <a:ext cx="120562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tx2">
                    <a:lumMod val="25000"/>
                  </a:schemeClr>
                </a:solidFill>
                <a:latin typeface="Georgia" pitchFamily="18" charset="0"/>
              </a:rPr>
              <a:t>«Формирование среды, стимулирующей здоровый образ жизни, включая здоровое питание и физическую активность»</a:t>
            </a:r>
            <a:br>
              <a:rPr lang="ru-RU" sz="2400" b="1" dirty="0">
                <a:solidFill>
                  <a:schemeClr val="tx2">
                    <a:lumMod val="25000"/>
                  </a:schemeClr>
                </a:solidFill>
                <a:latin typeface="Georgia" pitchFamily="18" charset="0"/>
              </a:rPr>
            </a:br>
            <a:endParaRPr lang="ru-RU" sz="2400" b="1" dirty="0">
              <a:solidFill>
                <a:schemeClr val="tx2">
                  <a:lumMod val="25000"/>
                </a:schemeClr>
              </a:solidFill>
              <a:latin typeface="Georgia" pitchFamily="18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669" y="5085490"/>
            <a:ext cx="914400" cy="91440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3140869" y="6342625"/>
            <a:ext cx="74462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tx2">
                    <a:lumMod val="25000"/>
                  </a:schemeClr>
                </a:solidFill>
                <a:latin typeface="Georgia" pitchFamily="18" charset="0"/>
              </a:rPr>
              <a:t>«Проведение информационной кампании»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669" y="602292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104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97183" y="123825"/>
            <a:ext cx="1061836" cy="126682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73869" y="200025"/>
            <a:ext cx="11811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е благоприятных условий в целях привлечения медицинских работников для работы в  государственных учреждениях  здравоохранения Самарской области, расположенных на территории городского округа Тольятт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10671" y="1946403"/>
            <a:ext cx="123041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ru-RU" b="1" dirty="0">
                <a:latin typeface="Georgia" panose="02040502050405020303" pitchFamily="18" charset="0"/>
              </a:rPr>
              <a:t>Денежные выплаты студентам высших учебных заведений и ординаторам, обучающимся по медицинским специальностям и заключившим договор о целевом обучении с государственным учреждением здравоохранения, подведомственным министерству здравоохранения Самарской области 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itchFamily="18" charset="0"/>
            </a:endParaRPr>
          </a:p>
        </p:txBody>
      </p:sp>
      <p:pic>
        <p:nvPicPr>
          <p:cNvPr id="13" name="Содержимое 6" descr="медколледж.jpg"/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510671" y="2943225"/>
            <a:ext cx="2788876" cy="1748352"/>
          </a:xfrm>
        </p:spPr>
      </p:pic>
      <p:sp>
        <p:nvSpPr>
          <p:cNvPr id="15" name="Заголовок 15"/>
          <p:cNvSpPr>
            <a:spLocks noGrp="1"/>
          </p:cNvSpPr>
          <p:nvPr>
            <p:ph type="title"/>
          </p:nvPr>
        </p:nvSpPr>
        <p:spPr>
          <a:xfrm>
            <a:off x="3594620" y="3500050"/>
            <a:ext cx="9220200" cy="524470"/>
          </a:xfrm>
          <a:prstGeom prst="roundRect">
            <a:avLst/>
          </a:prstGeom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/>
            <a:r>
              <a:rPr lang="ru-RU" sz="2400" b="1" dirty="0">
                <a:solidFill>
                  <a:schemeClr val="tx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выплату получили 389 студентов (1000 руб. в месяц)</a:t>
            </a:r>
            <a:endParaRPr lang="ru-RU" sz="24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57743" y="4691577"/>
            <a:ext cx="130100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ru-RU" b="1" dirty="0">
                <a:latin typeface="Georgia" panose="02040502050405020303" pitchFamily="18" charset="0"/>
              </a:rPr>
              <a:t>Ежемесячные денежные выплаты отдельным категориям врачей, работающих с  высокотехнологичным медицинским оборудованием</a:t>
            </a:r>
          </a:p>
        </p:txBody>
      </p:sp>
      <p:pic>
        <p:nvPicPr>
          <p:cNvPr id="21" name="Содержимое 7" descr="операция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902" y="5358634"/>
            <a:ext cx="2799916" cy="2012536"/>
          </a:xfrm>
          <a:prstGeom prst="rect">
            <a:avLst/>
          </a:prstGeom>
        </p:spPr>
      </p:pic>
      <p:sp>
        <p:nvSpPr>
          <p:cNvPr id="22" name="Заголовок 15"/>
          <p:cNvSpPr txBox="1">
            <a:spLocks/>
          </p:cNvSpPr>
          <p:nvPr/>
        </p:nvSpPr>
        <p:spPr>
          <a:xfrm>
            <a:off x="3569726" y="5812483"/>
            <a:ext cx="9589294" cy="707750"/>
          </a:xfrm>
          <a:prstGeom prst="roundRect">
            <a:avLst/>
          </a:prstGeom>
          <a:ln w="57150" cap="rnd" cmpd="sng" algn="ctr">
            <a:solidFill>
              <a:schemeClr val="accent2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Autofit/>
          </a:bodyPr>
          <a:lstStyle>
            <a:lvl1pPr algn="l" defTabSz="504154" rtl="0" eaLnBrk="1" latinLnBrk="0" hangingPunct="1">
              <a:spcBef>
                <a:spcPct val="0"/>
              </a:spcBef>
              <a:buNone/>
              <a:defRPr sz="397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>
                <a:solidFill>
                  <a:schemeClr val="tx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выплату получали 10 врачей (30 000 руб. в месяц)</a:t>
            </a:r>
            <a:endParaRPr lang="ru-RU" sz="24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346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97183" y="123825"/>
            <a:ext cx="1061836" cy="126682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97669" y="352425"/>
            <a:ext cx="113538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ОСТИЖЕНИЕ ПОКАЗАТЕЛЕЙ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едерального проекта «Обеспечение медицинских организаций системы здравоохранения Самарской области квалифицированными кадрами» национального проекта «Здравоохранения</a:t>
            </a:r>
            <a:r>
              <a:rPr lang="ru-RU" sz="20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6269" y="2173157"/>
            <a:ext cx="11811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Georgia" pitchFamily="18" charset="0"/>
              </a:rPr>
              <a:t>«Укомплектованность медицинских организаций, оказывающих медицинскую помощь в амбулаторных условиях (врачами)»</a:t>
            </a:r>
            <a:endParaRPr lang="ru-RU" sz="2400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54869" y="4086225"/>
            <a:ext cx="11353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Georgia" pitchFamily="18" charset="0"/>
              </a:rPr>
              <a:t>«Укомплектованность медицинских организаций, оказывающих медицинскую помощь в амбулаторных условиях 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latin typeface="Georgia" pitchFamily="18" charset="0"/>
              </a:rPr>
              <a:t>(средними медицинским персоналом)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31669" y="3079194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77 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41169" y="5445295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84,6%</a:t>
            </a:r>
          </a:p>
        </p:txBody>
      </p:sp>
    </p:spTree>
    <p:extLst>
      <p:ext uri="{BB962C8B-B14F-4D97-AF65-F5344CB8AC3E}">
        <p14:creationId xmlns:p14="http://schemas.microsoft.com/office/powerpoint/2010/main" val="2310279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Легкий дым">
  <a:themeElements>
    <a:clrScheme name="Легкий дым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Легкий дым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Легкий дым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2694</TotalTime>
  <Words>384</Words>
  <Application>Microsoft Office PowerPoint</Application>
  <PresentationFormat>Произвольный</PresentationFormat>
  <Paragraphs>50</Paragraphs>
  <Slides>7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Georgia</vt:lpstr>
      <vt:lpstr>Times New Roman</vt:lpstr>
      <vt:lpstr>Wingdings 3</vt:lpstr>
      <vt:lpstr>Легкий ды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 2022 году выплату получили 389 студентов (1000 руб. в месяц)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tion_ru</dc:title>
  <dc:creator>Администратор</dc:creator>
  <cp:lastModifiedBy>Константинович Дмитрий Александрович</cp:lastModifiedBy>
  <cp:revision>403</cp:revision>
  <cp:lastPrinted>2023-07-21T03:52:57Z</cp:lastPrinted>
  <dcterms:created xsi:type="dcterms:W3CDTF">2017-09-18T06:39:19Z</dcterms:created>
  <dcterms:modified xsi:type="dcterms:W3CDTF">2023-07-28T05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9-18T00:00:00Z</vt:filetime>
  </property>
  <property fmtid="{D5CDD505-2E9C-101B-9397-08002B2CF9AE}" pid="3" name="Creator">
    <vt:lpwstr>Adobe Illustrator CS6 (Macintosh)</vt:lpwstr>
  </property>
  <property fmtid="{D5CDD505-2E9C-101B-9397-08002B2CF9AE}" pid="4" name="LastSaved">
    <vt:filetime>2017-09-18T00:00:00Z</vt:filetime>
  </property>
</Properties>
</file>